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3"/>
  </p:notesMasterIdLst>
  <p:handoutMasterIdLst>
    <p:handoutMasterId r:id="rId14"/>
  </p:handoutMasterIdLst>
  <p:sldIdLst>
    <p:sldId id="311" r:id="rId4"/>
    <p:sldId id="340" r:id="rId5"/>
    <p:sldId id="366" r:id="rId6"/>
    <p:sldId id="372" r:id="rId7"/>
    <p:sldId id="373" r:id="rId8"/>
    <p:sldId id="375" r:id="rId9"/>
    <p:sldId id="374" r:id="rId10"/>
    <p:sldId id="329" r:id="rId11"/>
    <p:sldId id="349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2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2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terakcj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z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ny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elementa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</a:t>
            </a:r>
            <a:r>
              <a:rPr lang="pl-PL" dirty="0" smtClean="0"/>
              <a:t>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890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 nowego duszka wybierając przycis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Pain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ne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Nazwij go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abirynt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importuj grafikę z klockami przyciski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load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from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fil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 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level1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w dowolny sposób poukładać klocki (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liwe po wcześniejszym zaznaczeniu klocków i wciśnięciu przycis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ngroup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8908082" y="155674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191679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65460" y="2708900"/>
            <a:ext cx="9525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8822870" y="249287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625510" y="4293120"/>
            <a:ext cx="542925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Arrow Connector 17"/>
          <p:cNvCxnSpPr/>
          <p:nvPr/>
        </p:nvCxnSpPr>
        <p:spPr>
          <a:xfrm flipH="1">
            <a:off x="9129580" y="5013220"/>
            <a:ext cx="360050" cy="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14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</a:t>
            </a:r>
            <a:r>
              <a:rPr lang="pl-PL" dirty="0" smtClean="0"/>
              <a:t>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776420" y="5445280"/>
            <a:ext cx="7489040" cy="5040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poruszać kotem. Przechodzi prze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śian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?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1268700"/>
            <a:ext cx="5328740" cy="400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34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             (chcemy aby skrypt się uruchomił po kliknięciu zielonej flagi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ntrol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blok           (chcemy ab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akeś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lecenie wykonywało się cały czas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ewnątrz poprzedniego bloku dodaj blok             (chcemy sprawdzić jakiś warunek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3477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89130" y="2276840"/>
            <a:ext cx="1080150" cy="472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8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16870" y="3429000"/>
            <a:ext cx="829777" cy="504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9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81240" y="4581160"/>
            <a:ext cx="107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80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73100" y="5373270"/>
            <a:ext cx="126682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ensor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strzałkę obok słow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Labirynt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iągnij blo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upuść go na poprzednim bloku za słow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będziemy sprawdzać czy nasz kotek dotknął dowolny element labiryntu)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450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745110" y="1861930"/>
            <a:ext cx="10858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4" name="Picture 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1490" y="2715930"/>
            <a:ext cx="1314135" cy="281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2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0990" y="4797190"/>
            <a:ext cx="239077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44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  do środka blok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mień wartość na -10 (kotek po dotknięciu elementu labiryntu cofnie się 10 kroków do tyłu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kliknięciu zielonej flagi sprawdź jak porusza się kot po labirynci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dodać </a:t>
            </a:r>
          </a:p>
        </p:txBody>
      </p:sp>
      <p:pic>
        <p:nvPicPr>
          <p:cNvPr id="234505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85060" y="1900030"/>
            <a:ext cx="10953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6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656820" y="3032775"/>
            <a:ext cx="2400300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Content Placeholder 7"/>
          <p:cNvSpPr>
            <a:spLocks noGrp="1"/>
          </p:cNvSpPr>
          <p:nvPr>
            <p:ph idx="4294967295"/>
          </p:nvPr>
        </p:nvSpPr>
        <p:spPr>
          <a:xfrm>
            <a:off x="344359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  do środka blok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mień wartość na -10 (kotek po dotknięciu elementu labiryntu cofnie się 10 kroków do tyłu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kliknięciu zielonej flagi sprawdź jak porusza się kot po labirynci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dodać dźwięk gdy kot dotyka labiryntu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9</Words>
  <Application>Microsoft Office PowerPoint</Application>
  <PresentationFormat>A4 Paper (210x297 mm)</PresentationFormat>
  <Paragraphs>54</Paragraphs>
  <Slides>9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Blank</vt:lpstr>
      <vt:lpstr>Closing slides</vt:lpstr>
      <vt:lpstr>Section break</vt:lpstr>
      <vt:lpstr>think-cell Slide</vt:lpstr>
      <vt:lpstr>       Zadanie 2</vt:lpstr>
      <vt:lpstr>Wskazówki</vt:lpstr>
      <vt:lpstr>Krok 1. Ułóż labirynt z klocków</vt:lpstr>
      <vt:lpstr>Krok 1. Ułóż labirynt z klocków</vt:lpstr>
      <vt:lpstr>Krok 2. Zablokuj przechodzenie przez ściany</vt:lpstr>
      <vt:lpstr>Krok 2. Zablokuj przechodzenie przez ściany</vt:lpstr>
      <vt:lpstr>Krok 2. Zablokuj przechodzenie przez ściany</vt:lpstr>
      <vt:lpstr>Slide 8</vt:lpstr>
      <vt:lpstr>Slide 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40</cp:revision>
  <dcterms:created xsi:type="dcterms:W3CDTF">2014-10-21T19:55:20Z</dcterms:created>
  <dcterms:modified xsi:type="dcterms:W3CDTF">2014-11-28T05:37:29Z</dcterms:modified>
</cp:coreProperties>
</file>